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D5C1B-BFF7-CFE7-F4EE-F0983BF36C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BF6ED-BD7B-21D5-73D6-115ECAE2B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173131-2057-7AE7-7BA6-7B90E66EF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C6128A-CBA7-9292-51D1-C82CEFEB6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76E815-8A62-7BD4-CEB6-F74579030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070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B6E42-02A6-8ECF-8771-3D76D4D3D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1A8561-D862-6337-D642-6ECF7E7289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EB69F5-ACA9-C021-4304-C9D86E4AB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C2B57-9522-21F3-F917-E0C50B280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1D346-0E83-D355-EE22-21008ED1E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565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03CB1C-3115-D45B-4DDB-D152EC6779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D2BEFF-1CC2-8EC4-7AAB-58B3DC76A5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D928EB-EC56-BAE8-B225-2C7D9108C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B15D76-2838-B2F8-B8DD-0ADA3C341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D5E6DE-5B25-C103-25BE-23D020D94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929F5C-F345-4792-2AC5-F4104C3FF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14C6D3-3404-3677-3562-8E79C6BFF4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3D850-FB67-2A9E-FD2C-72B83060D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5C3B4-3F2D-2C0A-D172-F3860674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B894CD-3950-1A3D-CE5F-C2A742729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93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F0441-1A9A-2997-5871-0212F659E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9A3F00-D93A-A239-720D-83A68760C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14FB2-C68E-CFB4-CE75-AC1F17076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D33D8-E74D-EB5C-422D-A88A49190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91FE73-FF83-D0A8-A467-5B9FEFD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801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13FDC-E64B-7FA2-A3CF-7DDD0B17E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6A7C88-E655-0FE1-00E1-132F94A4F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35A6FD-B8CD-7116-C9F9-8721A1EA7C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F8A6FA-D62C-B9F8-AAD5-7B22B4209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E4E982-3FE4-2098-EA77-FE2FCC931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E7EFA7-A853-8A5B-B1A4-584E14112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5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EA88C-04A6-2E20-5FD6-994D53FF6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9D9B2-2FD8-9642-7D0F-B76361C06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F79F04-16E9-2CB6-D487-D5127585E3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BAB5E-AFBC-E7A4-6C45-844BD0BCA0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B7834D-BA9E-216A-AF0A-2DAB9E2CD5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418992C-40B8-ED3F-796B-E6B9D7180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2E7825-8451-4E65-317A-20C197DC8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5EBD4C-F0D9-F394-AAA1-8E2F249BB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217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0F9C7-B91D-B239-0A0B-50C0A1C35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775F2F-047E-F7FE-DAE7-3B65DEBBF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22BF7B-5033-658D-D1F8-6791D2852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8FAD5D-8A6B-B27A-05EA-96752A01C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37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2732F4-9A18-7DBD-5187-7D1EB8B7F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CC6FB7-100D-7E94-2FB7-96036DAC9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4E3474-A292-F812-82B7-ADFE11445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566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FCED9-5736-9492-B73D-8C74CFBD9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5CB6F-E573-57F4-CCE2-0204D2CFC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F17587-0689-F381-A28C-444AA26CC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C401E-EFE5-E313-28B7-187BA1503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A14B95-DFE4-8099-ACFC-922C5B1A1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2EB2F6-B440-6264-8C67-B391CB939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610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3A645-064A-B747-DF9C-A0F4DBED2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8F0815-46DC-A89F-AB14-5F490034F0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CF52DB-C519-6D48-83C2-8047D1ACEC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427F3F-206D-F4B3-0410-FBC5CA530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55BAC8-3DA8-2A17-93CC-60DDC7930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D8AD1F-FD0B-908A-6E71-20BBD5E38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043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0A0C60-52A0-3DB6-388B-93B0DBAAC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05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956E40-9A39-BC47-7A53-7C845971B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AB07D6-CEF5-CB36-89DC-FE59F49BDD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D1B3F9-C693-F776-5A7F-75C696621B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AF658FD-6F7F-4582-B15F-B320B9C4BE79}" type="datetimeFigureOut">
              <a:rPr lang="en-US" smtClean="0"/>
              <a:t>7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633DA0-732A-480C-8372-F2675BF2AA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60937E-234C-75A3-EA1D-9C4DFB3F2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77567D-EADC-4774-AA88-6A683A391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47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F9D214-CE11-0956-3633-BE63584AC2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25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01AD7E2C-5A91-8188-7C51-70DA9D1957B8}"/>
              </a:ext>
            </a:extLst>
          </p:cNvPr>
          <p:cNvSpPr/>
          <p:nvPr/>
        </p:nvSpPr>
        <p:spPr>
          <a:xfrm>
            <a:off x="-1754372" y="3870251"/>
            <a:ext cx="7729870" cy="298774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88A706-308A-A90E-9E61-C6E3791E0738}"/>
              </a:ext>
            </a:extLst>
          </p:cNvPr>
          <p:cNvSpPr/>
          <p:nvPr/>
        </p:nvSpPr>
        <p:spPr>
          <a:xfrm>
            <a:off x="4199859" y="0"/>
            <a:ext cx="3211033" cy="108452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BF6D0E-77DC-06E0-D900-F3A3BE9AB556}"/>
              </a:ext>
            </a:extLst>
          </p:cNvPr>
          <p:cNvSpPr/>
          <p:nvPr/>
        </p:nvSpPr>
        <p:spPr>
          <a:xfrm>
            <a:off x="882502" y="1297171"/>
            <a:ext cx="2945219" cy="10100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1CD08F-3404-FE6D-FDFC-9AF4DC3A944A}"/>
              </a:ext>
            </a:extLst>
          </p:cNvPr>
          <p:cNvSpPr/>
          <p:nvPr/>
        </p:nvSpPr>
        <p:spPr>
          <a:xfrm>
            <a:off x="7967330" y="1297172"/>
            <a:ext cx="2945219" cy="10100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59070C2-32BF-9C1E-5076-D8F3D947B7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177671"/>
              </p:ext>
            </p:extLst>
          </p:nvPr>
        </p:nvGraphicFramePr>
        <p:xfrm>
          <a:off x="135859" y="2952503"/>
          <a:ext cx="189496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480">
                  <a:extLst>
                    <a:ext uri="{9D8B030D-6E8A-4147-A177-3AD203B41FA5}">
                      <a16:colId xmlns:a16="http://schemas.microsoft.com/office/drawing/2014/main" val="3692409882"/>
                    </a:ext>
                  </a:extLst>
                </a:gridCol>
                <a:gridCol w="947480">
                  <a:extLst>
                    <a:ext uri="{9D8B030D-6E8A-4147-A177-3AD203B41FA5}">
                      <a16:colId xmlns:a16="http://schemas.microsoft.com/office/drawing/2014/main" val="29219916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ariable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522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648259"/>
                  </a:ext>
                </a:extLst>
              </a:tr>
            </a:tbl>
          </a:graphicData>
        </a:graphic>
      </p:graphicFrame>
      <p:sp>
        <p:nvSpPr>
          <p:cNvPr id="9" name="Arrow: Right 8">
            <a:extLst>
              <a:ext uri="{FF2B5EF4-FFF2-40B4-BE49-F238E27FC236}">
                <a16:creationId xmlns:a16="http://schemas.microsoft.com/office/drawing/2014/main" id="{912D1395-D2EB-9113-694A-306654557042}"/>
              </a:ext>
            </a:extLst>
          </p:cNvPr>
          <p:cNvSpPr/>
          <p:nvPr/>
        </p:nvSpPr>
        <p:spPr>
          <a:xfrm>
            <a:off x="2285999" y="3230218"/>
            <a:ext cx="723014" cy="39340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0A27197-7296-A8B8-A5A4-9835D973E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809042"/>
              </p:ext>
            </p:extLst>
          </p:nvPr>
        </p:nvGraphicFramePr>
        <p:xfrm>
          <a:off x="3142511" y="2890419"/>
          <a:ext cx="855331" cy="1073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5331">
                  <a:extLst>
                    <a:ext uri="{9D8B030D-6E8A-4147-A177-3AD203B41FA5}">
                      <a16:colId xmlns:a16="http://schemas.microsoft.com/office/drawing/2014/main" val="2779161558"/>
                    </a:ext>
                  </a:extLst>
                </a:gridCol>
              </a:tblGrid>
              <a:tr h="536502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047435"/>
                  </a:ext>
                </a:extLst>
              </a:tr>
              <a:tr h="53650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137609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37250762-B9ED-12DB-4211-BEC9A5E3F494}"/>
              </a:ext>
            </a:extLst>
          </p:cNvPr>
          <p:cNvSpPr/>
          <p:nvPr/>
        </p:nvSpPr>
        <p:spPr>
          <a:xfrm>
            <a:off x="-877186" y="4216968"/>
            <a:ext cx="1754372" cy="79744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ores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CD6F844-33DE-C01B-38DC-73DB016F027A}"/>
              </a:ext>
            </a:extLst>
          </p:cNvPr>
          <p:cNvSpPr/>
          <p:nvPr/>
        </p:nvSpPr>
        <p:spPr>
          <a:xfrm>
            <a:off x="3322673" y="4178595"/>
            <a:ext cx="1754372" cy="79744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dore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5D681E-3951-B09A-B61D-FD7361B723B2}"/>
              </a:ext>
            </a:extLst>
          </p:cNvPr>
          <p:cNvSpPr/>
          <p:nvPr/>
        </p:nvSpPr>
        <p:spPr>
          <a:xfrm>
            <a:off x="-616687" y="5380073"/>
            <a:ext cx="1105786" cy="105262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 es continu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0F4C53C-AF37-719F-F9A9-2ED257F779E8}"/>
              </a:ext>
            </a:extLst>
          </p:cNvPr>
          <p:cNvSpPr/>
          <p:nvPr/>
        </p:nvSpPr>
        <p:spPr>
          <a:xfrm>
            <a:off x="3322673" y="5372984"/>
            <a:ext cx="1621467" cy="13361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 es </a:t>
            </a:r>
            <a:r>
              <a:rPr lang="en-US" dirty="0" err="1"/>
              <a:t>discreteo</a:t>
            </a:r>
            <a:r>
              <a:rPr lang="en-US" dirty="0"/>
              <a:t>( </a:t>
            </a:r>
            <a:r>
              <a:rPr lang="en-US" dirty="0" err="1"/>
              <a:t>clase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99893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1DFC57-DC52-2C05-4FA2-85527A820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6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B309916-059A-E9A4-BAF6-D80389BF57F2}"/>
              </a:ext>
            </a:extLst>
          </p:cNvPr>
          <p:cNvSpPr/>
          <p:nvPr/>
        </p:nvSpPr>
        <p:spPr>
          <a:xfrm>
            <a:off x="1222744" y="1180214"/>
            <a:ext cx="6007395" cy="232853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2A41B47-6CAA-6E51-017E-3C9A6E0662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4116072"/>
              </p:ext>
            </p:extLst>
          </p:nvPr>
        </p:nvGraphicFramePr>
        <p:xfrm>
          <a:off x="1815803" y="1719127"/>
          <a:ext cx="189496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480">
                  <a:extLst>
                    <a:ext uri="{9D8B030D-6E8A-4147-A177-3AD203B41FA5}">
                      <a16:colId xmlns:a16="http://schemas.microsoft.com/office/drawing/2014/main" val="3692409882"/>
                    </a:ext>
                  </a:extLst>
                </a:gridCol>
                <a:gridCol w="947480">
                  <a:extLst>
                    <a:ext uri="{9D8B030D-6E8A-4147-A177-3AD203B41FA5}">
                      <a16:colId xmlns:a16="http://schemas.microsoft.com/office/drawing/2014/main" val="29219916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ariable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522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648259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FB9AD5B-4063-B72B-873D-2567F78F04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925282"/>
              </p:ext>
            </p:extLst>
          </p:nvPr>
        </p:nvGraphicFramePr>
        <p:xfrm>
          <a:off x="9948531" y="1957275"/>
          <a:ext cx="855331" cy="1073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5331">
                  <a:extLst>
                    <a:ext uri="{9D8B030D-6E8A-4147-A177-3AD203B41FA5}">
                      <a16:colId xmlns:a16="http://schemas.microsoft.com/office/drawing/2014/main" val="2779161558"/>
                    </a:ext>
                  </a:extLst>
                </a:gridCol>
              </a:tblGrid>
              <a:tr h="536502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047435"/>
                  </a:ext>
                </a:extLst>
              </a:tr>
              <a:tr h="53650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137609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C1204E3-CD77-F2AB-F708-1C4DFEC68E8D}"/>
              </a:ext>
            </a:extLst>
          </p:cNvPr>
          <p:cNvSpPr txBox="1"/>
          <p:nvPr/>
        </p:nvSpPr>
        <p:spPr>
          <a:xfrm>
            <a:off x="1815802" y="584791"/>
            <a:ext cx="5414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aradigma</a:t>
            </a:r>
            <a:r>
              <a:rPr lang="en-US" dirty="0"/>
              <a:t> de </a:t>
            </a:r>
            <a:r>
              <a:rPr lang="en-US" dirty="0" err="1"/>
              <a:t>programació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DD3D3B-A6F9-E950-5A9B-5EAECD7C4746}"/>
              </a:ext>
            </a:extLst>
          </p:cNvPr>
          <p:cNvSpPr/>
          <p:nvPr/>
        </p:nvSpPr>
        <p:spPr>
          <a:xfrm>
            <a:off x="4522970" y="1460340"/>
            <a:ext cx="2058583" cy="15699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junto de </a:t>
            </a:r>
            <a:r>
              <a:rPr lang="en-US" dirty="0" err="1"/>
              <a:t>reglas</a:t>
            </a:r>
            <a:r>
              <a:rPr lang="en-US" dirty="0"/>
              <a:t> </a:t>
            </a:r>
            <a:r>
              <a:rPr lang="en-US" dirty="0" err="1"/>
              <a:t>programada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C87E03-2AD8-BFC3-90AB-67D8AD68564E}"/>
              </a:ext>
            </a:extLst>
          </p:cNvPr>
          <p:cNvSpPr/>
          <p:nvPr/>
        </p:nvSpPr>
        <p:spPr>
          <a:xfrm>
            <a:off x="1222744" y="584791"/>
            <a:ext cx="63796" cy="457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6116B9D1-580C-12BF-8D0C-17FABF5C22A6}"/>
              </a:ext>
            </a:extLst>
          </p:cNvPr>
          <p:cNvSpPr/>
          <p:nvPr/>
        </p:nvSpPr>
        <p:spPr>
          <a:xfrm>
            <a:off x="8315841" y="1323073"/>
            <a:ext cx="457200" cy="2004917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F2293B-C33E-D197-5D16-6DF1B3BD428D}"/>
              </a:ext>
            </a:extLst>
          </p:cNvPr>
          <p:cNvSpPr txBox="1"/>
          <p:nvPr/>
        </p:nvSpPr>
        <p:spPr>
          <a:xfrm>
            <a:off x="1254642" y="3987209"/>
            <a:ext cx="474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chine Learn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9A4CA1-1CA1-FA40-8B78-18BE6B98CD09}"/>
              </a:ext>
            </a:extLst>
          </p:cNvPr>
          <p:cNvSpPr/>
          <p:nvPr/>
        </p:nvSpPr>
        <p:spPr>
          <a:xfrm>
            <a:off x="1222743" y="4356541"/>
            <a:ext cx="6007395" cy="232853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C582167-5337-022B-C11A-CE2EA7A43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3005001"/>
              </p:ext>
            </p:extLst>
          </p:nvPr>
        </p:nvGraphicFramePr>
        <p:xfrm>
          <a:off x="1692346" y="4835006"/>
          <a:ext cx="189496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480">
                  <a:extLst>
                    <a:ext uri="{9D8B030D-6E8A-4147-A177-3AD203B41FA5}">
                      <a16:colId xmlns:a16="http://schemas.microsoft.com/office/drawing/2014/main" val="3692409882"/>
                    </a:ext>
                  </a:extLst>
                </a:gridCol>
                <a:gridCol w="947480">
                  <a:extLst>
                    <a:ext uri="{9D8B030D-6E8A-4147-A177-3AD203B41FA5}">
                      <a16:colId xmlns:a16="http://schemas.microsoft.com/office/drawing/2014/main" val="29219916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ariable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5227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648259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2F70C764-8900-FEE7-E9A7-4F52D32D2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6156616"/>
              </p:ext>
            </p:extLst>
          </p:nvPr>
        </p:nvGraphicFramePr>
        <p:xfrm>
          <a:off x="5295015" y="4861158"/>
          <a:ext cx="855331" cy="1073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5331">
                  <a:extLst>
                    <a:ext uri="{9D8B030D-6E8A-4147-A177-3AD203B41FA5}">
                      <a16:colId xmlns:a16="http://schemas.microsoft.com/office/drawing/2014/main" val="2779161558"/>
                    </a:ext>
                  </a:extLst>
                </a:gridCol>
              </a:tblGrid>
              <a:tr h="536502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047435"/>
                  </a:ext>
                </a:extLst>
              </a:tr>
              <a:tr h="53650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137609"/>
                  </a:ext>
                </a:extLst>
              </a:tr>
            </a:tbl>
          </a:graphicData>
        </a:graphic>
      </p:graphicFrame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CCBC4DE1-8DA5-0825-6448-104E454CF9F1}"/>
              </a:ext>
            </a:extLst>
          </p:cNvPr>
          <p:cNvSpPr/>
          <p:nvPr/>
        </p:nvSpPr>
        <p:spPr>
          <a:xfrm>
            <a:off x="8315841" y="4518347"/>
            <a:ext cx="457200" cy="2004917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3A9883-1848-A9FB-4B24-D2805E019B41}"/>
              </a:ext>
            </a:extLst>
          </p:cNvPr>
          <p:cNvSpPr/>
          <p:nvPr/>
        </p:nvSpPr>
        <p:spPr>
          <a:xfrm>
            <a:off x="9470362" y="4612690"/>
            <a:ext cx="2058583" cy="15699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junto de </a:t>
            </a:r>
            <a:r>
              <a:rPr lang="en-US" dirty="0" err="1"/>
              <a:t>reglas</a:t>
            </a:r>
            <a:r>
              <a:rPr lang="en-US" dirty="0"/>
              <a:t> </a:t>
            </a:r>
            <a:r>
              <a:rPr lang="en-US" dirty="0" err="1"/>
              <a:t>programad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713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00E1733-5B23-A88A-A1C9-5199A0350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715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09A9A4D-EBC5-1EE7-8668-905AD83E4F47}"/>
              </a:ext>
            </a:extLst>
          </p:cNvPr>
          <p:cNvCxnSpPr>
            <a:cxnSpLocks/>
          </p:cNvCxnSpPr>
          <p:nvPr/>
        </p:nvCxnSpPr>
        <p:spPr>
          <a:xfrm>
            <a:off x="2806995" y="404037"/>
            <a:ext cx="0" cy="450820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D37AFD-177B-7B0B-E0D7-C73F7706BF3C}"/>
              </a:ext>
            </a:extLst>
          </p:cNvPr>
          <p:cNvCxnSpPr>
            <a:cxnSpLocks/>
          </p:cNvCxnSpPr>
          <p:nvPr/>
        </p:nvCxnSpPr>
        <p:spPr>
          <a:xfrm flipH="1">
            <a:off x="2392326" y="4369981"/>
            <a:ext cx="715571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A7F129C-A18E-1BCC-EFD5-57F2F35FE2CC}"/>
              </a:ext>
            </a:extLst>
          </p:cNvPr>
          <p:cNvSpPr txBox="1"/>
          <p:nvPr/>
        </p:nvSpPr>
        <p:spPr>
          <a:xfrm>
            <a:off x="874546" y="229086"/>
            <a:ext cx="2234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Índice</a:t>
            </a:r>
            <a:r>
              <a:rPr lang="en-US" dirty="0"/>
              <a:t> </a:t>
            </a:r>
            <a:r>
              <a:rPr lang="en-US" dirty="0" err="1"/>
              <a:t>Socioeconómico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1C703D-55C1-C997-C7B7-2C06F9526F8D}"/>
              </a:ext>
            </a:extLst>
          </p:cNvPr>
          <p:cNvSpPr txBox="1"/>
          <p:nvPr/>
        </p:nvSpPr>
        <p:spPr>
          <a:xfrm>
            <a:off x="9285767" y="4671237"/>
            <a:ext cx="2079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ensidad</a:t>
            </a:r>
            <a:r>
              <a:rPr lang="en-US" dirty="0"/>
              <a:t> de població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8FF631C-5635-8925-360F-5A2C8B1D864A}"/>
              </a:ext>
            </a:extLst>
          </p:cNvPr>
          <p:cNvSpPr/>
          <p:nvPr/>
        </p:nvSpPr>
        <p:spPr>
          <a:xfrm>
            <a:off x="3934047" y="291332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4C5059-8B67-F833-F935-1494085FAA85}"/>
              </a:ext>
            </a:extLst>
          </p:cNvPr>
          <p:cNvSpPr/>
          <p:nvPr/>
        </p:nvSpPr>
        <p:spPr>
          <a:xfrm>
            <a:off x="4798829" y="263333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A0E24E7-4784-0BCD-8506-D171BCD29913}"/>
              </a:ext>
            </a:extLst>
          </p:cNvPr>
          <p:cNvSpPr/>
          <p:nvPr/>
        </p:nvSpPr>
        <p:spPr>
          <a:xfrm>
            <a:off x="4937051" y="31295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89C76F2-30CC-4C4E-ED65-10E666F5C43E}"/>
              </a:ext>
            </a:extLst>
          </p:cNvPr>
          <p:cNvSpPr/>
          <p:nvPr/>
        </p:nvSpPr>
        <p:spPr>
          <a:xfrm>
            <a:off x="5546652" y="261029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FEA3D55-FB93-8A14-DAF9-F362953D6E71}"/>
              </a:ext>
            </a:extLst>
          </p:cNvPr>
          <p:cNvSpPr/>
          <p:nvPr/>
        </p:nvSpPr>
        <p:spPr>
          <a:xfrm>
            <a:off x="5638800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76FA7BA-F1ED-BD48-8824-1B98F9EB7495}"/>
              </a:ext>
            </a:extLst>
          </p:cNvPr>
          <p:cNvSpPr/>
          <p:nvPr/>
        </p:nvSpPr>
        <p:spPr>
          <a:xfrm>
            <a:off x="6266121" y="215664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BA6E63-D573-DF4E-9C94-FC9754998D95}"/>
              </a:ext>
            </a:extLst>
          </p:cNvPr>
          <p:cNvSpPr/>
          <p:nvPr/>
        </p:nvSpPr>
        <p:spPr>
          <a:xfrm>
            <a:off x="6801294" y="125464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3B9FCDD-0A4D-6808-33AD-57C0AF25DBA3}"/>
              </a:ext>
            </a:extLst>
          </p:cNvPr>
          <p:cNvSpPr/>
          <p:nvPr/>
        </p:nvSpPr>
        <p:spPr>
          <a:xfrm>
            <a:off x="8226055" y="1811069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DFA8DF9-9C26-4229-8832-ED88977372D1}"/>
              </a:ext>
            </a:extLst>
          </p:cNvPr>
          <p:cNvSpPr/>
          <p:nvPr/>
        </p:nvSpPr>
        <p:spPr>
          <a:xfrm>
            <a:off x="7481777" y="8754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F71AACB-6FBF-E1A8-AD09-EAA96C7A1F3B}"/>
              </a:ext>
            </a:extLst>
          </p:cNvPr>
          <p:cNvSpPr/>
          <p:nvPr/>
        </p:nvSpPr>
        <p:spPr>
          <a:xfrm>
            <a:off x="6939516" y="170120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4A9B349-649C-09B7-39D9-B79949DD25FF}"/>
              </a:ext>
            </a:extLst>
          </p:cNvPr>
          <p:cNvSpPr/>
          <p:nvPr/>
        </p:nvSpPr>
        <p:spPr>
          <a:xfrm>
            <a:off x="7719239" y="138223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F8EAF06-EDC3-B92D-ABA9-CEDE2BEAF1AB}"/>
              </a:ext>
            </a:extLst>
          </p:cNvPr>
          <p:cNvSpPr/>
          <p:nvPr/>
        </p:nvSpPr>
        <p:spPr>
          <a:xfrm>
            <a:off x="8263264" y="91440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63655A1-5658-9EF1-1870-9481558FD852}"/>
              </a:ext>
            </a:extLst>
          </p:cNvPr>
          <p:cNvSpPr/>
          <p:nvPr/>
        </p:nvSpPr>
        <p:spPr>
          <a:xfrm>
            <a:off x="5075273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EB072C9-8CCD-B5A9-F5D0-5DCDE8886ADA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2315245" y="404037"/>
            <a:ext cx="7424178" cy="3608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555F037-DA50-1E57-312A-28FEB3921FFB}"/>
              </a:ext>
            </a:extLst>
          </p:cNvPr>
          <p:cNvSpPr txBox="1"/>
          <p:nvPr/>
        </p:nvSpPr>
        <p:spPr>
          <a:xfrm>
            <a:off x="619359" y="3827721"/>
            <a:ext cx="1695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 =mx + b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BB3678-5E2C-4574-ABB5-BBD2CE10FFC0}"/>
              </a:ext>
            </a:extLst>
          </p:cNvPr>
          <p:cNvSpPr txBox="1"/>
          <p:nvPr/>
        </p:nvSpPr>
        <p:spPr>
          <a:xfrm>
            <a:off x="9773099" y="404037"/>
            <a:ext cx="11678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 = 4 x 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324645A6-53CC-863B-4003-1D8A159B66D9}"/>
              </a:ext>
            </a:extLst>
          </p:cNvPr>
          <p:cNvSpPr/>
          <p:nvPr/>
        </p:nvSpPr>
        <p:spPr>
          <a:xfrm>
            <a:off x="6414980" y="1811069"/>
            <a:ext cx="304797" cy="217985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48A11E1-47FD-FE2A-C63C-BD4AAF3E18AF}"/>
              </a:ext>
            </a:extLst>
          </p:cNvPr>
          <p:cNvCxnSpPr>
            <a:stCxn id="36" idx="4"/>
          </p:cNvCxnSpPr>
          <p:nvPr/>
        </p:nvCxnSpPr>
        <p:spPr>
          <a:xfrm flipH="1">
            <a:off x="6560288" y="2029054"/>
            <a:ext cx="7091" cy="2340927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998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08524A-D554-0F9B-BA3B-79CA55E6DD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029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2E40BB-C189-72FE-897A-D1A6F92BCF0E}"/>
              </a:ext>
            </a:extLst>
          </p:cNvPr>
          <p:cNvCxnSpPr>
            <a:cxnSpLocks/>
          </p:cNvCxnSpPr>
          <p:nvPr/>
        </p:nvCxnSpPr>
        <p:spPr>
          <a:xfrm>
            <a:off x="2806995" y="404037"/>
            <a:ext cx="0" cy="450820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68D437F-A5B9-72CF-C35A-811D5E531775}"/>
              </a:ext>
            </a:extLst>
          </p:cNvPr>
          <p:cNvCxnSpPr>
            <a:cxnSpLocks/>
          </p:cNvCxnSpPr>
          <p:nvPr/>
        </p:nvCxnSpPr>
        <p:spPr>
          <a:xfrm flipH="1">
            <a:off x="2392326" y="4369981"/>
            <a:ext cx="715571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053EF54-BD4A-91E9-A548-C53FDE69241C}"/>
              </a:ext>
            </a:extLst>
          </p:cNvPr>
          <p:cNvSpPr/>
          <p:nvPr/>
        </p:nvSpPr>
        <p:spPr>
          <a:xfrm>
            <a:off x="3934047" y="291332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7E56C23-4407-E51F-03AF-D8AEED527364}"/>
              </a:ext>
            </a:extLst>
          </p:cNvPr>
          <p:cNvSpPr/>
          <p:nvPr/>
        </p:nvSpPr>
        <p:spPr>
          <a:xfrm>
            <a:off x="4798829" y="263333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8BA448F-7892-02D7-34D7-97437A0C56DC}"/>
              </a:ext>
            </a:extLst>
          </p:cNvPr>
          <p:cNvSpPr/>
          <p:nvPr/>
        </p:nvSpPr>
        <p:spPr>
          <a:xfrm>
            <a:off x="4937051" y="31295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813614-676D-E589-5BD5-A828B35F6044}"/>
              </a:ext>
            </a:extLst>
          </p:cNvPr>
          <p:cNvSpPr/>
          <p:nvPr/>
        </p:nvSpPr>
        <p:spPr>
          <a:xfrm>
            <a:off x="5546652" y="261029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2259CAC-C7E3-2C99-F670-184404C34AA6}"/>
              </a:ext>
            </a:extLst>
          </p:cNvPr>
          <p:cNvSpPr/>
          <p:nvPr/>
        </p:nvSpPr>
        <p:spPr>
          <a:xfrm>
            <a:off x="5638800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D17507-8C48-2710-7039-EBFDF79412BE}"/>
              </a:ext>
            </a:extLst>
          </p:cNvPr>
          <p:cNvSpPr/>
          <p:nvPr/>
        </p:nvSpPr>
        <p:spPr>
          <a:xfrm>
            <a:off x="6266121" y="215664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5CC710-3D28-F4A7-777D-F168CC9F0E46}"/>
              </a:ext>
            </a:extLst>
          </p:cNvPr>
          <p:cNvSpPr/>
          <p:nvPr/>
        </p:nvSpPr>
        <p:spPr>
          <a:xfrm>
            <a:off x="6801294" y="125464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CA1D524-86A9-A366-AB75-24020F822660}"/>
              </a:ext>
            </a:extLst>
          </p:cNvPr>
          <p:cNvSpPr/>
          <p:nvPr/>
        </p:nvSpPr>
        <p:spPr>
          <a:xfrm>
            <a:off x="8226055" y="1811069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6912ABE-068B-D5F2-821A-2AD7D2E2EB07}"/>
              </a:ext>
            </a:extLst>
          </p:cNvPr>
          <p:cNvSpPr/>
          <p:nvPr/>
        </p:nvSpPr>
        <p:spPr>
          <a:xfrm>
            <a:off x="7481777" y="8754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C416D63-2508-B401-C140-4523FC48B4E6}"/>
              </a:ext>
            </a:extLst>
          </p:cNvPr>
          <p:cNvSpPr/>
          <p:nvPr/>
        </p:nvSpPr>
        <p:spPr>
          <a:xfrm>
            <a:off x="6939516" y="170120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5052740-A708-B196-0657-B1D7D209484A}"/>
              </a:ext>
            </a:extLst>
          </p:cNvPr>
          <p:cNvSpPr/>
          <p:nvPr/>
        </p:nvSpPr>
        <p:spPr>
          <a:xfrm>
            <a:off x="7719239" y="138223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507ED37-D76B-6EAE-FF70-78C24B0EACFB}"/>
              </a:ext>
            </a:extLst>
          </p:cNvPr>
          <p:cNvSpPr/>
          <p:nvPr/>
        </p:nvSpPr>
        <p:spPr>
          <a:xfrm>
            <a:off x="8263264" y="91440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506B72-6797-FBC0-05F5-247A356462DA}"/>
              </a:ext>
            </a:extLst>
          </p:cNvPr>
          <p:cNvSpPr/>
          <p:nvPr/>
        </p:nvSpPr>
        <p:spPr>
          <a:xfrm>
            <a:off x="5075273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DEC0568-ED23-9B4E-82F3-24AE8D5B2038}"/>
              </a:ext>
            </a:extLst>
          </p:cNvPr>
          <p:cNvCxnSpPr>
            <a:cxnSpLocks/>
          </p:cNvCxnSpPr>
          <p:nvPr/>
        </p:nvCxnSpPr>
        <p:spPr>
          <a:xfrm flipV="1">
            <a:off x="2315245" y="404037"/>
            <a:ext cx="7424178" cy="3608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9C331B5-EF53-F5F9-7998-A111306559D9}"/>
              </a:ext>
            </a:extLst>
          </p:cNvPr>
          <p:cNvCxnSpPr>
            <a:stCxn id="9" idx="3"/>
          </p:cNvCxnSpPr>
          <p:nvPr/>
        </p:nvCxnSpPr>
        <p:spPr>
          <a:xfrm flipH="1">
            <a:off x="3934047" y="3022224"/>
            <a:ext cx="20242" cy="23488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2D164C2-370E-B475-46B0-195594C052AA}"/>
              </a:ext>
            </a:extLst>
          </p:cNvPr>
          <p:cNvCxnSpPr>
            <a:cxnSpLocks/>
          </p:cNvCxnSpPr>
          <p:nvPr/>
        </p:nvCxnSpPr>
        <p:spPr>
          <a:xfrm>
            <a:off x="5164626" y="1865341"/>
            <a:ext cx="0" cy="808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F1F1D7E-BD8E-F713-BDCE-B44BD6C97142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8246297" y="1114707"/>
            <a:ext cx="16967" cy="80526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DA4B7FA-4225-9A8D-77D7-6D466C1FF2AC}"/>
              </a:ext>
            </a:extLst>
          </p:cNvPr>
          <p:cNvSpPr txBox="1"/>
          <p:nvPr/>
        </p:nvSpPr>
        <p:spPr>
          <a:xfrm>
            <a:off x="9704780" y="1254643"/>
            <a:ext cx="1275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residua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55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08524A-D554-0F9B-BA3B-79CA55E6DD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8524A-D554-0F9B-BA3B-79CA55E6D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2E40BB-C189-72FE-897A-D1A6F92BCF0E}"/>
              </a:ext>
            </a:extLst>
          </p:cNvPr>
          <p:cNvCxnSpPr>
            <a:cxnSpLocks/>
          </p:cNvCxnSpPr>
          <p:nvPr/>
        </p:nvCxnSpPr>
        <p:spPr>
          <a:xfrm>
            <a:off x="2806995" y="404037"/>
            <a:ext cx="0" cy="450820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68D437F-A5B9-72CF-C35A-811D5E531775}"/>
              </a:ext>
            </a:extLst>
          </p:cNvPr>
          <p:cNvCxnSpPr>
            <a:cxnSpLocks/>
          </p:cNvCxnSpPr>
          <p:nvPr/>
        </p:nvCxnSpPr>
        <p:spPr>
          <a:xfrm flipH="1">
            <a:off x="2392326" y="4369981"/>
            <a:ext cx="715571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053EF54-BD4A-91E9-A548-C53FDE69241C}"/>
              </a:ext>
            </a:extLst>
          </p:cNvPr>
          <p:cNvSpPr/>
          <p:nvPr/>
        </p:nvSpPr>
        <p:spPr>
          <a:xfrm>
            <a:off x="3934047" y="291332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7E56C23-4407-E51F-03AF-D8AEED527364}"/>
              </a:ext>
            </a:extLst>
          </p:cNvPr>
          <p:cNvSpPr/>
          <p:nvPr/>
        </p:nvSpPr>
        <p:spPr>
          <a:xfrm>
            <a:off x="4798829" y="263333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8BA448F-7892-02D7-34D7-97437A0C56DC}"/>
              </a:ext>
            </a:extLst>
          </p:cNvPr>
          <p:cNvSpPr/>
          <p:nvPr/>
        </p:nvSpPr>
        <p:spPr>
          <a:xfrm>
            <a:off x="4937051" y="31295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813614-676D-E589-5BD5-A828B35F6044}"/>
              </a:ext>
            </a:extLst>
          </p:cNvPr>
          <p:cNvSpPr/>
          <p:nvPr/>
        </p:nvSpPr>
        <p:spPr>
          <a:xfrm>
            <a:off x="5546652" y="261029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2259CAC-C7E3-2C99-F670-184404C34AA6}"/>
              </a:ext>
            </a:extLst>
          </p:cNvPr>
          <p:cNvSpPr/>
          <p:nvPr/>
        </p:nvSpPr>
        <p:spPr>
          <a:xfrm>
            <a:off x="5638800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D17507-8C48-2710-7039-EBFDF79412BE}"/>
              </a:ext>
            </a:extLst>
          </p:cNvPr>
          <p:cNvSpPr/>
          <p:nvPr/>
        </p:nvSpPr>
        <p:spPr>
          <a:xfrm>
            <a:off x="6266121" y="215664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5CC710-3D28-F4A7-777D-F168CC9F0E46}"/>
              </a:ext>
            </a:extLst>
          </p:cNvPr>
          <p:cNvSpPr/>
          <p:nvPr/>
        </p:nvSpPr>
        <p:spPr>
          <a:xfrm>
            <a:off x="6801294" y="125464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CA1D524-86A9-A366-AB75-24020F822660}"/>
              </a:ext>
            </a:extLst>
          </p:cNvPr>
          <p:cNvSpPr/>
          <p:nvPr/>
        </p:nvSpPr>
        <p:spPr>
          <a:xfrm>
            <a:off x="8226055" y="1811069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6912ABE-068B-D5F2-821A-2AD7D2E2EB07}"/>
              </a:ext>
            </a:extLst>
          </p:cNvPr>
          <p:cNvSpPr/>
          <p:nvPr/>
        </p:nvSpPr>
        <p:spPr>
          <a:xfrm>
            <a:off x="7481777" y="8754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C416D63-2508-B401-C140-4523FC48B4E6}"/>
              </a:ext>
            </a:extLst>
          </p:cNvPr>
          <p:cNvSpPr/>
          <p:nvPr/>
        </p:nvSpPr>
        <p:spPr>
          <a:xfrm>
            <a:off x="6939516" y="170120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5052740-A708-B196-0657-B1D7D209484A}"/>
              </a:ext>
            </a:extLst>
          </p:cNvPr>
          <p:cNvSpPr/>
          <p:nvPr/>
        </p:nvSpPr>
        <p:spPr>
          <a:xfrm>
            <a:off x="7719239" y="138223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507ED37-D76B-6EAE-FF70-78C24B0EACFB}"/>
              </a:ext>
            </a:extLst>
          </p:cNvPr>
          <p:cNvSpPr/>
          <p:nvPr/>
        </p:nvSpPr>
        <p:spPr>
          <a:xfrm>
            <a:off x="8263264" y="91440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506B72-6797-FBC0-05F5-247A356462DA}"/>
              </a:ext>
            </a:extLst>
          </p:cNvPr>
          <p:cNvSpPr/>
          <p:nvPr/>
        </p:nvSpPr>
        <p:spPr>
          <a:xfrm>
            <a:off x="5075273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DEC0568-ED23-9B4E-82F3-24AE8D5B2038}"/>
              </a:ext>
            </a:extLst>
          </p:cNvPr>
          <p:cNvCxnSpPr>
            <a:cxnSpLocks/>
          </p:cNvCxnSpPr>
          <p:nvPr/>
        </p:nvCxnSpPr>
        <p:spPr>
          <a:xfrm flipV="1">
            <a:off x="2315245" y="-435935"/>
            <a:ext cx="9263611" cy="44483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95963B9-0C8B-1D9D-5274-5C5C24597765}"/>
              </a:ext>
            </a:extLst>
          </p:cNvPr>
          <p:cNvSpPr txBox="1"/>
          <p:nvPr/>
        </p:nvSpPr>
        <p:spPr>
          <a:xfrm>
            <a:off x="9250326" y="4540102"/>
            <a:ext cx="946296" cy="372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fecha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9C5C2D-4EDD-183A-57BB-DBE62A2FAB48}"/>
              </a:ext>
            </a:extLst>
          </p:cNvPr>
          <p:cNvSpPr txBox="1"/>
          <p:nvPr/>
        </p:nvSpPr>
        <p:spPr>
          <a:xfrm>
            <a:off x="1979429" y="195300"/>
            <a:ext cx="946296" cy="372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46323B7-42F1-BE64-2CFF-B390A739B1CB}"/>
              </a:ext>
            </a:extLst>
          </p:cNvPr>
          <p:cNvSpPr/>
          <p:nvPr/>
        </p:nvSpPr>
        <p:spPr>
          <a:xfrm>
            <a:off x="8779830" y="31897"/>
            <a:ext cx="732764" cy="4369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DC4B24F-A068-1824-2915-9117A399EB86}"/>
              </a:ext>
            </a:extLst>
          </p:cNvPr>
          <p:cNvSpPr/>
          <p:nvPr/>
        </p:nvSpPr>
        <p:spPr>
          <a:xfrm>
            <a:off x="8932230" y="184297"/>
            <a:ext cx="732764" cy="4369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03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08524A-D554-0F9B-BA3B-79CA55E6DD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8524A-D554-0F9B-BA3B-79CA55E6D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22E40BB-C189-72FE-897A-D1A6F92BCF0E}"/>
              </a:ext>
            </a:extLst>
          </p:cNvPr>
          <p:cNvCxnSpPr>
            <a:cxnSpLocks/>
          </p:cNvCxnSpPr>
          <p:nvPr/>
        </p:nvCxnSpPr>
        <p:spPr>
          <a:xfrm>
            <a:off x="2806995" y="404037"/>
            <a:ext cx="0" cy="450820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68D437F-A5B9-72CF-C35A-811D5E531775}"/>
              </a:ext>
            </a:extLst>
          </p:cNvPr>
          <p:cNvCxnSpPr>
            <a:cxnSpLocks/>
          </p:cNvCxnSpPr>
          <p:nvPr/>
        </p:nvCxnSpPr>
        <p:spPr>
          <a:xfrm flipH="1">
            <a:off x="2392326" y="4369981"/>
            <a:ext cx="715571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053EF54-BD4A-91E9-A548-C53FDE69241C}"/>
              </a:ext>
            </a:extLst>
          </p:cNvPr>
          <p:cNvSpPr/>
          <p:nvPr/>
        </p:nvSpPr>
        <p:spPr>
          <a:xfrm>
            <a:off x="3664690" y="390606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7E56C23-4407-E51F-03AF-D8AEED527364}"/>
              </a:ext>
            </a:extLst>
          </p:cNvPr>
          <p:cNvSpPr/>
          <p:nvPr/>
        </p:nvSpPr>
        <p:spPr>
          <a:xfrm>
            <a:off x="4052779" y="370013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8BA448F-7892-02D7-34D7-97437A0C56DC}"/>
              </a:ext>
            </a:extLst>
          </p:cNvPr>
          <p:cNvSpPr/>
          <p:nvPr/>
        </p:nvSpPr>
        <p:spPr>
          <a:xfrm>
            <a:off x="3572541" y="3663474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813614-676D-E589-5BD5-A828B35F6044}"/>
              </a:ext>
            </a:extLst>
          </p:cNvPr>
          <p:cNvSpPr/>
          <p:nvPr/>
        </p:nvSpPr>
        <p:spPr>
          <a:xfrm>
            <a:off x="5009706" y="228423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2259CAC-C7E3-2C99-F670-184404C34AA6}"/>
              </a:ext>
            </a:extLst>
          </p:cNvPr>
          <p:cNvSpPr/>
          <p:nvPr/>
        </p:nvSpPr>
        <p:spPr>
          <a:xfrm>
            <a:off x="5638800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D17507-8C48-2710-7039-EBFDF79412BE}"/>
              </a:ext>
            </a:extLst>
          </p:cNvPr>
          <p:cNvSpPr/>
          <p:nvPr/>
        </p:nvSpPr>
        <p:spPr>
          <a:xfrm>
            <a:off x="6266121" y="215664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5CC710-3D28-F4A7-777D-F168CC9F0E46}"/>
              </a:ext>
            </a:extLst>
          </p:cNvPr>
          <p:cNvSpPr/>
          <p:nvPr/>
        </p:nvSpPr>
        <p:spPr>
          <a:xfrm>
            <a:off x="6801294" y="1254643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CA1D524-86A9-A366-AB75-24020F822660}"/>
              </a:ext>
            </a:extLst>
          </p:cNvPr>
          <p:cNvSpPr/>
          <p:nvPr/>
        </p:nvSpPr>
        <p:spPr>
          <a:xfrm>
            <a:off x="8226055" y="1811069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6912ABE-068B-D5F2-821A-2AD7D2E2EB07}"/>
              </a:ext>
            </a:extLst>
          </p:cNvPr>
          <p:cNvSpPr/>
          <p:nvPr/>
        </p:nvSpPr>
        <p:spPr>
          <a:xfrm>
            <a:off x="7481777" y="87541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C416D63-2508-B401-C140-4523FC48B4E6}"/>
              </a:ext>
            </a:extLst>
          </p:cNvPr>
          <p:cNvSpPr/>
          <p:nvPr/>
        </p:nvSpPr>
        <p:spPr>
          <a:xfrm>
            <a:off x="6939516" y="170120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5052740-A708-B196-0657-B1D7D209484A}"/>
              </a:ext>
            </a:extLst>
          </p:cNvPr>
          <p:cNvSpPr/>
          <p:nvPr/>
        </p:nvSpPr>
        <p:spPr>
          <a:xfrm>
            <a:off x="7719239" y="138223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507ED37-D76B-6EAE-FF70-78C24B0EACFB}"/>
              </a:ext>
            </a:extLst>
          </p:cNvPr>
          <p:cNvSpPr/>
          <p:nvPr/>
        </p:nvSpPr>
        <p:spPr>
          <a:xfrm>
            <a:off x="8263264" y="91440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506B72-6797-FBC0-05F5-247A356462DA}"/>
              </a:ext>
            </a:extLst>
          </p:cNvPr>
          <p:cNvSpPr/>
          <p:nvPr/>
        </p:nvSpPr>
        <p:spPr>
          <a:xfrm>
            <a:off x="5075273" y="1726018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DEC0568-ED23-9B4E-82F3-24AE8D5B2038}"/>
              </a:ext>
            </a:extLst>
          </p:cNvPr>
          <p:cNvCxnSpPr>
            <a:cxnSpLocks/>
          </p:cNvCxnSpPr>
          <p:nvPr/>
        </p:nvCxnSpPr>
        <p:spPr>
          <a:xfrm flipV="1">
            <a:off x="2040125" y="368227"/>
            <a:ext cx="8210988" cy="391669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95963B9-0C8B-1D9D-5274-5C5C24597765}"/>
              </a:ext>
            </a:extLst>
          </p:cNvPr>
          <p:cNvSpPr txBox="1"/>
          <p:nvPr/>
        </p:nvSpPr>
        <p:spPr>
          <a:xfrm>
            <a:off x="9250326" y="4540102"/>
            <a:ext cx="946296" cy="372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fecha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9C5C2D-4EDD-183A-57BB-DBE62A2FAB48}"/>
              </a:ext>
            </a:extLst>
          </p:cNvPr>
          <p:cNvSpPr txBox="1"/>
          <p:nvPr/>
        </p:nvSpPr>
        <p:spPr>
          <a:xfrm>
            <a:off x="1979429" y="195300"/>
            <a:ext cx="946296" cy="372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BA7D348-8DA4-F8CC-78AE-07A55D2C5652}"/>
              </a:ext>
            </a:extLst>
          </p:cNvPr>
          <p:cNvSpPr/>
          <p:nvPr/>
        </p:nvSpPr>
        <p:spPr>
          <a:xfrm>
            <a:off x="4398336" y="3365206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87E742F-BC99-7F60-ACC5-FD4D00C75165}"/>
              </a:ext>
            </a:extLst>
          </p:cNvPr>
          <p:cNvSpPr/>
          <p:nvPr/>
        </p:nvSpPr>
        <p:spPr>
          <a:xfrm>
            <a:off x="4596812" y="311888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8EC3696-A6BA-A0DE-6746-3C99B5C3E203}"/>
              </a:ext>
            </a:extLst>
          </p:cNvPr>
          <p:cNvSpPr/>
          <p:nvPr/>
        </p:nvSpPr>
        <p:spPr>
          <a:xfrm>
            <a:off x="5414629" y="99163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25C71F5-7C32-E42C-CE24-42CE944F70A5}"/>
              </a:ext>
            </a:extLst>
          </p:cNvPr>
          <p:cNvSpPr/>
          <p:nvPr/>
        </p:nvSpPr>
        <p:spPr>
          <a:xfrm>
            <a:off x="6076508" y="1140494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5BA0D5A-8530-7FBF-638D-8E4B915FFC67}"/>
              </a:ext>
            </a:extLst>
          </p:cNvPr>
          <p:cNvSpPr/>
          <p:nvPr/>
        </p:nvSpPr>
        <p:spPr>
          <a:xfrm>
            <a:off x="8745281" y="2153647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73A6760-265E-D8D7-F8A1-245744D8E13F}"/>
              </a:ext>
            </a:extLst>
          </p:cNvPr>
          <p:cNvSpPr/>
          <p:nvPr/>
        </p:nvSpPr>
        <p:spPr>
          <a:xfrm>
            <a:off x="8941760" y="138223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BDCE673-37E5-7D3E-456E-F4D52B1E78A9}"/>
              </a:ext>
            </a:extLst>
          </p:cNvPr>
          <p:cNvSpPr/>
          <p:nvPr/>
        </p:nvSpPr>
        <p:spPr>
          <a:xfrm>
            <a:off x="8295166" y="144602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BFFF6F4-04E9-B574-B64D-5981428CC28B}"/>
              </a:ext>
            </a:extLst>
          </p:cNvPr>
          <p:cNvSpPr/>
          <p:nvPr/>
        </p:nvSpPr>
        <p:spPr>
          <a:xfrm>
            <a:off x="7977740" y="1747275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BF88606-EABB-0062-094B-8DB8362DE318}"/>
              </a:ext>
            </a:extLst>
          </p:cNvPr>
          <p:cNvSpPr/>
          <p:nvPr/>
        </p:nvSpPr>
        <p:spPr>
          <a:xfrm>
            <a:off x="9333390" y="1789812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F653A76-80F8-D65E-890E-04EB0635EDA5}"/>
              </a:ext>
            </a:extLst>
          </p:cNvPr>
          <p:cNvSpPr/>
          <p:nvPr/>
        </p:nvSpPr>
        <p:spPr>
          <a:xfrm>
            <a:off x="3667350" y="288814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025F53-D30C-623F-7564-CFC141045CE5}"/>
              </a:ext>
            </a:extLst>
          </p:cNvPr>
          <p:cNvSpPr/>
          <p:nvPr/>
        </p:nvSpPr>
        <p:spPr>
          <a:xfrm>
            <a:off x="4398336" y="2740691"/>
            <a:ext cx="138222" cy="127588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036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</Words>
  <Application>Microsoft Office PowerPoint</Application>
  <PresentationFormat>Widescreen</PresentationFormat>
  <Paragraphs>2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1</cp:revision>
  <dcterms:created xsi:type="dcterms:W3CDTF">2024-07-20T17:47:50Z</dcterms:created>
  <dcterms:modified xsi:type="dcterms:W3CDTF">2024-07-20T17:48:19Z</dcterms:modified>
</cp:coreProperties>
</file>